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AA9EF4-8B8D-4381-91D7-A76C35CB0816}" v="49" dt="2023-03-08T22:59:44.3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AAA9EF4-8B8D-4381-91D7-A76C35CB0816}"/>
    <pc:docChg chg="modSld">
      <pc:chgData name="Roberto Gallardo" userId="49a044883f185952" providerId="LiveId" clId="{7AAA9EF4-8B8D-4381-91D7-A76C35CB0816}" dt="2023-03-08T22:59:55.348" v="206" actId="1076"/>
      <pc:docMkLst>
        <pc:docMk/>
      </pc:docMkLst>
      <pc:sldChg chg="addSp modSp mod">
        <pc:chgData name="Roberto Gallardo" userId="49a044883f185952" providerId="LiveId" clId="{7AAA9EF4-8B8D-4381-91D7-A76C35CB0816}" dt="2023-03-08T22:50:13.043" v="7" actId="1076"/>
        <pc:sldMkLst>
          <pc:docMk/>
          <pc:sldMk cId="1418533539" sldId="271"/>
        </pc:sldMkLst>
        <pc:picChg chg="add mod">
          <ac:chgData name="Roberto Gallardo" userId="49a044883f185952" providerId="LiveId" clId="{7AAA9EF4-8B8D-4381-91D7-A76C35CB0816}" dt="2023-03-08T22:50:13.043" v="7" actId="1076"/>
          <ac:picMkLst>
            <pc:docMk/>
            <pc:sldMk cId="1418533539" sldId="271"/>
            <ac:picMk id="6" creationId="{4FD8875F-10B7-8C62-2B83-76F4FFD86035}"/>
          </ac:picMkLst>
        </pc:picChg>
      </pc:sldChg>
      <pc:sldChg chg="addSp modSp mod">
        <pc:chgData name="Roberto Gallardo" userId="49a044883f185952" providerId="LiveId" clId="{7AAA9EF4-8B8D-4381-91D7-A76C35CB0816}" dt="2023-03-08T22:55:55.491" v="72" actId="1076"/>
        <pc:sldMkLst>
          <pc:docMk/>
          <pc:sldMk cId="2124848710" sldId="281"/>
        </pc:sldMkLst>
        <pc:picChg chg="add mod">
          <ac:chgData name="Roberto Gallardo" userId="49a044883f185952" providerId="LiveId" clId="{7AAA9EF4-8B8D-4381-91D7-A76C35CB0816}" dt="2023-03-08T22:55:55.491" v="72" actId="1076"/>
          <ac:picMkLst>
            <pc:docMk/>
            <pc:sldMk cId="2124848710" sldId="281"/>
            <ac:picMk id="6" creationId="{63EC5F1F-BF66-59AB-B2D6-FDAFAB5F2660}"/>
          </ac:picMkLst>
        </pc:picChg>
      </pc:sldChg>
      <pc:sldChg chg="addSp modSp mod">
        <pc:chgData name="Roberto Gallardo" userId="49a044883f185952" providerId="LiveId" clId="{7AAA9EF4-8B8D-4381-91D7-A76C35CB0816}" dt="2023-03-08T22:56:23.402" v="82" actId="1076"/>
        <pc:sldMkLst>
          <pc:docMk/>
          <pc:sldMk cId="2028175529" sldId="282"/>
        </pc:sldMkLst>
        <pc:picChg chg="add mod">
          <ac:chgData name="Roberto Gallardo" userId="49a044883f185952" providerId="LiveId" clId="{7AAA9EF4-8B8D-4381-91D7-A76C35CB0816}" dt="2023-03-08T22:56:23.402" v="82" actId="1076"/>
          <ac:picMkLst>
            <pc:docMk/>
            <pc:sldMk cId="2028175529" sldId="282"/>
            <ac:picMk id="7" creationId="{1A3AD863-58C1-FF25-EF40-D16000CDD60B}"/>
          </ac:picMkLst>
        </pc:picChg>
      </pc:sldChg>
      <pc:sldChg chg="addSp modSp mod">
        <pc:chgData name="Roberto Gallardo" userId="49a044883f185952" providerId="LiveId" clId="{7AAA9EF4-8B8D-4381-91D7-A76C35CB0816}" dt="2023-03-08T22:56:44.470" v="96" actId="1076"/>
        <pc:sldMkLst>
          <pc:docMk/>
          <pc:sldMk cId="1326517747" sldId="283"/>
        </pc:sldMkLst>
        <pc:picChg chg="add mod">
          <ac:chgData name="Roberto Gallardo" userId="49a044883f185952" providerId="LiveId" clId="{7AAA9EF4-8B8D-4381-91D7-A76C35CB0816}" dt="2023-03-08T22:56:44.470" v="96" actId="1076"/>
          <ac:picMkLst>
            <pc:docMk/>
            <pc:sldMk cId="1326517747" sldId="283"/>
            <ac:picMk id="7" creationId="{1725FA5A-E7CB-C1D8-F719-1CE9D42E70B3}"/>
          </ac:picMkLst>
        </pc:picChg>
      </pc:sldChg>
      <pc:sldChg chg="addSp modSp mod">
        <pc:chgData name="Roberto Gallardo" userId="49a044883f185952" providerId="LiveId" clId="{7AAA9EF4-8B8D-4381-91D7-A76C35CB0816}" dt="2023-03-08T22:57:08.414" v="108" actId="1076"/>
        <pc:sldMkLst>
          <pc:docMk/>
          <pc:sldMk cId="783739251" sldId="284"/>
        </pc:sldMkLst>
        <pc:picChg chg="add mod">
          <ac:chgData name="Roberto Gallardo" userId="49a044883f185952" providerId="LiveId" clId="{7AAA9EF4-8B8D-4381-91D7-A76C35CB0816}" dt="2023-03-08T22:57:08.414" v="108" actId="1076"/>
          <ac:picMkLst>
            <pc:docMk/>
            <pc:sldMk cId="783739251" sldId="284"/>
            <ac:picMk id="7" creationId="{578C7822-648D-C342-4E9B-EE0276C5C847}"/>
          </ac:picMkLst>
        </pc:picChg>
      </pc:sldChg>
      <pc:sldChg chg="addSp modSp mod">
        <pc:chgData name="Roberto Gallardo" userId="49a044883f185952" providerId="LiveId" clId="{7AAA9EF4-8B8D-4381-91D7-A76C35CB0816}" dt="2023-03-08T22:57:28.119" v="119" actId="1076"/>
        <pc:sldMkLst>
          <pc:docMk/>
          <pc:sldMk cId="1676122233" sldId="285"/>
        </pc:sldMkLst>
        <pc:picChg chg="add mod">
          <ac:chgData name="Roberto Gallardo" userId="49a044883f185952" providerId="LiveId" clId="{7AAA9EF4-8B8D-4381-91D7-A76C35CB0816}" dt="2023-03-08T22:57:28.119" v="119" actId="1076"/>
          <ac:picMkLst>
            <pc:docMk/>
            <pc:sldMk cId="1676122233" sldId="285"/>
            <ac:picMk id="7" creationId="{C4AB5216-08D5-B6A4-D78F-0C29D58955AC}"/>
          </ac:picMkLst>
        </pc:picChg>
      </pc:sldChg>
      <pc:sldChg chg="addSp modSp mod">
        <pc:chgData name="Roberto Gallardo" userId="49a044883f185952" providerId="LiveId" clId="{7AAA9EF4-8B8D-4381-91D7-A76C35CB0816}" dt="2023-03-08T22:57:47.797" v="130" actId="1076"/>
        <pc:sldMkLst>
          <pc:docMk/>
          <pc:sldMk cId="3100398757" sldId="286"/>
        </pc:sldMkLst>
        <pc:picChg chg="add mod">
          <ac:chgData name="Roberto Gallardo" userId="49a044883f185952" providerId="LiveId" clId="{7AAA9EF4-8B8D-4381-91D7-A76C35CB0816}" dt="2023-03-08T22:57:47.797" v="130" actId="1076"/>
          <ac:picMkLst>
            <pc:docMk/>
            <pc:sldMk cId="3100398757" sldId="286"/>
            <ac:picMk id="7" creationId="{DEC3DE1C-CAF8-EA1C-32DD-8C04A0019432}"/>
          </ac:picMkLst>
        </pc:picChg>
      </pc:sldChg>
      <pc:sldChg chg="addSp modSp mod">
        <pc:chgData name="Roberto Gallardo" userId="49a044883f185952" providerId="LiveId" clId="{7AAA9EF4-8B8D-4381-91D7-A76C35CB0816}" dt="2023-03-08T22:58:13.271" v="143" actId="1076"/>
        <pc:sldMkLst>
          <pc:docMk/>
          <pc:sldMk cId="1546475425" sldId="287"/>
        </pc:sldMkLst>
        <pc:picChg chg="add mod">
          <ac:chgData name="Roberto Gallardo" userId="49a044883f185952" providerId="LiveId" clId="{7AAA9EF4-8B8D-4381-91D7-A76C35CB0816}" dt="2023-03-08T22:58:13.271" v="143" actId="1076"/>
          <ac:picMkLst>
            <pc:docMk/>
            <pc:sldMk cId="1546475425" sldId="287"/>
            <ac:picMk id="7" creationId="{F4055F93-4716-E8A3-B828-07454C0230A2}"/>
          </ac:picMkLst>
        </pc:picChg>
      </pc:sldChg>
      <pc:sldChg chg="addSp modSp mod">
        <pc:chgData name="Roberto Gallardo" userId="49a044883f185952" providerId="LiveId" clId="{7AAA9EF4-8B8D-4381-91D7-A76C35CB0816}" dt="2023-03-08T22:58:44.142" v="164" actId="1076"/>
        <pc:sldMkLst>
          <pc:docMk/>
          <pc:sldMk cId="1380517306" sldId="288"/>
        </pc:sldMkLst>
        <pc:picChg chg="add mod">
          <ac:chgData name="Roberto Gallardo" userId="49a044883f185952" providerId="LiveId" clId="{7AAA9EF4-8B8D-4381-91D7-A76C35CB0816}" dt="2023-03-08T22:58:44.142" v="164" actId="1076"/>
          <ac:picMkLst>
            <pc:docMk/>
            <pc:sldMk cId="1380517306" sldId="288"/>
            <ac:picMk id="7" creationId="{80BCF99B-FEFA-E7A1-51D7-C9D2AFE311B0}"/>
          </ac:picMkLst>
        </pc:picChg>
      </pc:sldChg>
      <pc:sldChg chg="addSp modSp mod">
        <pc:chgData name="Roberto Gallardo" userId="49a044883f185952" providerId="LiveId" clId="{7AAA9EF4-8B8D-4381-91D7-A76C35CB0816}" dt="2023-03-08T22:59:01.356" v="172" actId="1076"/>
        <pc:sldMkLst>
          <pc:docMk/>
          <pc:sldMk cId="1388671151" sldId="289"/>
        </pc:sldMkLst>
        <pc:picChg chg="add mod">
          <ac:chgData name="Roberto Gallardo" userId="49a044883f185952" providerId="LiveId" clId="{7AAA9EF4-8B8D-4381-91D7-A76C35CB0816}" dt="2023-03-08T22:59:01.356" v="172" actId="1076"/>
          <ac:picMkLst>
            <pc:docMk/>
            <pc:sldMk cId="1388671151" sldId="289"/>
            <ac:picMk id="7" creationId="{8F9BF928-97BF-5BC9-327A-405782CA4E1C}"/>
          </ac:picMkLst>
        </pc:picChg>
      </pc:sldChg>
      <pc:sldChg chg="addSp modSp mod">
        <pc:chgData name="Roberto Gallardo" userId="49a044883f185952" providerId="LiveId" clId="{7AAA9EF4-8B8D-4381-91D7-A76C35CB0816}" dt="2023-03-08T22:59:38.802" v="195" actId="1076"/>
        <pc:sldMkLst>
          <pc:docMk/>
          <pc:sldMk cId="2355376039" sldId="290"/>
        </pc:sldMkLst>
        <pc:picChg chg="add mod">
          <ac:chgData name="Roberto Gallardo" userId="49a044883f185952" providerId="LiveId" clId="{7AAA9EF4-8B8D-4381-91D7-A76C35CB0816}" dt="2023-03-08T22:59:38.802" v="195" actId="1076"/>
          <ac:picMkLst>
            <pc:docMk/>
            <pc:sldMk cId="2355376039" sldId="290"/>
            <ac:picMk id="8" creationId="{37AE674B-1561-ABA4-C4C5-EEE110CE0CC4}"/>
          </ac:picMkLst>
        </pc:picChg>
      </pc:sldChg>
      <pc:sldChg chg="addSp modSp mod">
        <pc:chgData name="Roberto Gallardo" userId="49a044883f185952" providerId="LiveId" clId="{7AAA9EF4-8B8D-4381-91D7-A76C35CB0816}" dt="2023-03-08T22:59:55.348" v="206" actId="1076"/>
        <pc:sldMkLst>
          <pc:docMk/>
          <pc:sldMk cId="3757257295" sldId="291"/>
        </pc:sldMkLst>
        <pc:picChg chg="add mod">
          <ac:chgData name="Roberto Gallardo" userId="49a044883f185952" providerId="LiveId" clId="{7AAA9EF4-8B8D-4381-91D7-A76C35CB0816}" dt="2023-03-08T22:59:55.348" v="206" actId="1076"/>
          <ac:picMkLst>
            <pc:docMk/>
            <pc:sldMk cId="3757257295" sldId="291"/>
            <ac:picMk id="8" creationId="{5093A60A-3D3C-142A-197B-2D6A60C595AF}"/>
          </ac:picMkLst>
        </pc:picChg>
      </pc:sldChg>
      <pc:sldChg chg="addSp modSp mod">
        <pc:chgData name="Roberto Gallardo" userId="49a044883f185952" providerId="LiveId" clId="{7AAA9EF4-8B8D-4381-91D7-A76C35CB0816}" dt="2023-03-08T22:58:27.919" v="153" actId="1076"/>
        <pc:sldMkLst>
          <pc:docMk/>
          <pc:sldMk cId="1259856727" sldId="292"/>
        </pc:sldMkLst>
        <pc:picChg chg="add mod">
          <ac:chgData name="Roberto Gallardo" userId="49a044883f185952" providerId="LiveId" clId="{7AAA9EF4-8B8D-4381-91D7-A76C35CB0816}" dt="2023-03-08T22:58:27.919" v="153" actId="1076"/>
          <ac:picMkLst>
            <pc:docMk/>
            <pc:sldMk cId="1259856727" sldId="292"/>
            <ac:picMk id="7" creationId="{3CE5C578-93ED-30A4-A570-83DF29E4E8C3}"/>
          </ac:picMkLst>
        </pc:picChg>
      </pc:sldChg>
      <pc:sldChg chg="addSp modSp mod">
        <pc:chgData name="Roberto Gallardo" userId="49a044883f185952" providerId="LiveId" clId="{7AAA9EF4-8B8D-4381-91D7-A76C35CB0816}" dt="2023-03-08T22:55:07.026" v="62" actId="1036"/>
        <pc:sldMkLst>
          <pc:docMk/>
          <pc:sldMk cId="3324519687" sldId="293"/>
        </pc:sldMkLst>
        <pc:picChg chg="add mod">
          <ac:chgData name="Roberto Gallardo" userId="49a044883f185952" providerId="LiveId" clId="{7AAA9EF4-8B8D-4381-91D7-A76C35CB0816}" dt="2023-03-08T22:55:07.026" v="62" actId="1036"/>
          <ac:picMkLst>
            <pc:docMk/>
            <pc:sldMk cId="3324519687" sldId="293"/>
            <ac:picMk id="7" creationId="{09347CA4-B0B2-5A6C-7BBC-15F5463571E3}"/>
          </ac:picMkLst>
        </pc:picChg>
      </pc:sldChg>
      <pc:sldChg chg="addSp modSp mod">
        <pc:chgData name="Roberto Gallardo" userId="49a044883f185952" providerId="LiveId" clId="{7AAA9EF4-8B8D-4381-91D7-A76C35CB0816}" dt="2023-03-08T22:54:17.159" v="40" actId="1076"/>
        <pc:sldMkLst>
          <pc:docMk/>
          <pc:sldMk cId="3256182630" sldId="295"/>
        </pc:sldMkLst>
        <pc:picChg chg="add mod">
          <ac:chgData name="Roberto Gallardo" userId="49a044883f185952" providerId="LiveId" clId="{7AAA9EF4-8B8D-4381-91D7-A76C35CB0816}" dt="2023-03-08T22:54:17.159" v="40" actId="1076"/>
          <ac:picMkLst>
            <pc:docMk/>
            <pc:sldMk cId="3256182630" sldId="295"/>
            <ac:picMk id="7" creationId="{0C5668D5-7B2F-EE1A-EB33-9A9BB44098CD}"/>
          </ac:picMkLst>
        </pc:picChg>
      </pc:sldChg>
      <pc:sldChg chg="addSp modSp mod">
        <pc:chgData name="Roberto Gallardo" userId="49a044883f185952" providerId="LiveId" clId="{7AAA9EF4-8B8D-4381-91D7-A76C35CB0816}" dt="2023-03-08T22:54:46.095" v="50" actId="1035"/>
        <pc:sldMkLst>
          <pc:docMk/>
          <pc:sldMk cId="4057156843" sldId="296"/>
        </pc:sldMkLst>
        <pc:picChg chg="add mod">
          <ac:chgData name="Roberto Gallardo" userId="49a044883f185952" providerId="LiveId" clId="{7AAA9EF4-8B8D-4381-91D7-A76C35CB0816}" dt="2023-03-08T22:54:46.095" v="50" actId="1035"/>
          <ac:picMkLst>
            <pc:docMk/>
            <pc:sldMk cId="4057156843" sldId="296"/>
            <ac:picMk id="7" creationId="{16674FB6-0FB3-7F06-943C-0779C5E1CC8E}"/>
          </ac:picMkLst>
        </pc:picChg>
      </pc:sldChg>
      <pc:sldChg chg="addSp modSp mod">
        <pc:chgData name="Roberto Gallardo" userId="49a044883f185952" providerId="LiveId" clId="{7AAA9EF4-8B8D-4381-91D7-A76C35CB0816}" dt="2023-03-08T22:51:20.007" v="26" actId="1076"/>
        <pc:sldMkLst>
          <pc:docMk/>
          <pc:sldMk cId="2080110827" sldId="297"/>
        </pc:sldMkLst>
        <pc:picChg chg="add mod">
          <ac:chgData name="Roberto Gallardo" userId="49a044883f185952" providerId="LiveId" clId="{7AAA9EF4-8B8D-4381-91D7-A76C35CB0816}" dt="2023-03-08T22:51:20.007" v="26" actId="1076"/>
          <ac:picMkLst>
            <pc:docMk/>
            <pc:sldMk cId="2080110827" sldId="297"/>
            <ac:picMk id="6" creationId="{47C14614-F72F-E960-2C74-DB050CCCB12D}"/>
          </ac:picMkLst>
        </pc:picChg>
      </pc:sldChg>
      <pc:sldChg chg="addSp modSp mod">
        <pc:chgData name="Roberto Gallardo" userId="49a044883f185952" providerId="LiveId" clId="{7AAA9EF4-8B8D-4381-91D7-A76C35CB0816}" dt="2023-03-08T22:50:43.938" v="18" actId="1076"/>
        <pc:sldMkLst>
          <pc:docMk/>
          <pc:sldMk cId="1532666867" sldId="298"/>
        </pc:sldMkLst>
        <pc:picChg chg="add mod">
          <ac:chgData name="Roberto Gallardo" userId="49a044883f185952" providerId="LiveId" clId="{7AAA9EF4-8B8D-4381-91D7-A76C35CB0816}" dt="2023-03-08T22:50:43.938" v="18" actId="1076"/>
          <ac:picMkLst>
            <pc:docMk/>
            <pc:sldMk cId="1532666867" sldId="298"/>
            <ac:picMk id="6" creationId="{2B6B3A26-62FF-7E37-9CAE-122CD6B608F8}"/>
          </ac:picMkLst>
        </pc:picChg>
      </pc:sldChg>
      <pc:sldChg chg="addSp modSp mod">
        <pc:chgData name="Roberto Gallardo" userId="49a044883f185952" providerId="LiveId" clId="{7AAA9EF4-8B8D-4381-91D7-A76C35CB0816}" dt="2023-03-08T22:59:24.170" v="185" actId="1076"/>
        <pc:sldMkLst>
          <pc:docMk/>
          <pc:sldMk cId="1951376777" sldId="299"/>
        </pc:sldMkLst>
        <pc:picChg chg="add mod">
          <ac:chgData name="Roberto Gallardo" userId="49a044883f185952" providerId="LiveId" clId="{7AAA9EF4-8B8D-4381-91D7-A76C35CB0816}" dt="2023-03-08T22:59:24.170" v="185" actId="1076"/>
          <ac:picMkLst>
            <pc:docMk/>
            <pc:sldMk cId="1951376777" sldId="299"/>
            <ac:picMk id="7" creationId="{5D4F1239-1255-E845-E43E-56DBD4C7FDD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Frankli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BE22139-DC5F-2EE5-0AB6-09E66677B2B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D3953A82-800B-04FF-0461-71096C67BF4B}"/>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FD8875F-10B7-8C62-2B83-76F4FFD860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8795" y="1028700"/>
            <a:ext cx="7698210"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B6B3A26-62FF-7E37-9CAE-122CD6B608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5824" y="1028700"/>
            <a:ext cx="7704151"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7C14614-F72F-E960-2C74-DB050CCCB1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8795" y="1028700"/>
            <a:ext cx="7698210"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AF11B94-7F59-FFD4-513E-A55D8016E26D}"/>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0C5668D5-7B2F-EE1A-EB33-9A9BB44098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8881"/>
            <a:ext cx="6403976" cy="4468935"/>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533D370-6A73-9D11-A84C-9D001ED228F2}"/>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16674FB6-0FB3-7F06-943C-0779C5E1CC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3631"/>
            <a:ext cx="6400800" cy="446671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767A46F-F89C-E24B-44BF-1DE0A6D5B72B}"/>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09347CA4-B0B2-5A6C-7BBC-15F5463571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0757"/>
            <a:ext cx="6400801" cy="446671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09995B3-7BCF-B458-D876-3F13A0B235E9}"/>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with medium confidence">
            <a:extLst>
              <a:ext uri="{FF2B5EF4-FFF2-40B4-BE49-F238E27FC236}">
                <a16:creationId xmlns:a16="http://schemas.microsoft.com/office/drawing/2014/main" id="{63EC5F1F-BF66-59AB-B2D6-FDAFAB5F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1389"/>
            <a:ext cx="6403975" cy="446893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13581F3C-5214-E3FB-0ACD-9A28C80B4163}"/>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A3AD863-58C1-FF25-EF40-D16000CDD6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43290"/>
            <a:ext cx="6400800" cy="446671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342E0A4-1E90-E799-0B4E-740E37D5AC18}"/>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1725FA5A-E7CB-C1D8-F719-1CE9D42E70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0053"/>
            <a:ext cx="6404826" cy="446952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6291D4B8-25FA-D581-527A-EB29070CF913}"/>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578C7822-648D-C342-4E9B-EE0276C5C8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45743"/>
            <a:ext cx="6400800" cy="446671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AF9233F9-C537-92E8-769E-87938AF08B95}"/>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C4AB5216-08D5-B6A4-D78F-0C29D5895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8527"/>
            <a:ext cx="6400800" cy="446671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33D64A4F-00BF-A665-B86C-E7F43C6B0852}"/>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EC3DE1C-CAF8-EA1C-32DD-8C04A00194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51948"/>
            <a:ext cx="6400800" cy="446671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DF713DDE-C255-F26E-57EE-09C1D51463E3}"/>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4055F93-4716-E8A3-B828-07454C0230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7213"/>
            <a:ext cx="6400800" cy="446671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9430B9B1-39FD-6667-0FD2-59FBECE80F71}"/>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CE5C578-93ED-30A4-A570-83DF29E4E8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37058"/>
            <a:ext cx="6399481" cy="446579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AFE29B9-6F82-3647-8E0E-273BA5A4F7DC}"/>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0BCF99B-FEFA-E7A1-51D7-C9D2AFE311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1228"/>
            <a:ext cx="6400800" cy="446671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3D3D910F-088B-8379-BEC2-163C4BB9E34A}"/>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8F9BF928-97BF-5BC9-327A-405782CA4E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2233"/>
            <a:ext cx="6400800" cy="446671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F00BDDE4-9E5E-71A3-F0D7-801573CEF2B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5D4F1239-1255-E845-E43E-56DBD4C7FD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3291"/>
            <a:ext cx="6400800" cy="4466718"/>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36A30C12-D23C-78C8-7667-15D8801B70EB}"/>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37AE674B-1561-ABA4-C4C5-EEE110CE0C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6974"/>
            <a:ext cx="6400800" cy="4466718"/>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D4D21D2-4F6F-4BE3-D062-CDF739FFA179}"/>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13FE085C-C662-8EB4-632D-42929AAB9FC7}"/>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5093A60A-3D3C-142A-197B-2D6A60C595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62341"/>
            <a:ext cx="6400800" cy="4466718"/>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7441E4C-9545-8A2B-64E8-43AA3F26D2F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38BA316-8942-AE12-7CD8-E670CAE58283}"/>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A0FA00-4533-45C6-8233-6088E27751D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156468"/>
            <a:ext cx="1198148" cy="2328813"/>
            <a:chOff x="10485745" y="2552787"/>
            <a:chExt cx="1198148" cy="23288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127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527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52787"/>
              <a:ext cx="0" cy="7599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05261"/>
              <a:ext cx="0" cy="676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43614"/>
            <a:ext cx="1198148" cy="2171952"/>
            <a:chOff x="2775759" y="2320058"/>
            <a:chExt cx="1198148" cy="21719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200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200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4D29E0D-9981-72BC-2938-25F30CCEB735}"/>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75EA9E0-C002-30E0-E743-9838C1A86B63}"/>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77E0BE7-9B6C-25A9-4F46-F67B304DCEFC}"/>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313CEDF-034F-AB2A-2504-91D58556F69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854BAB93-ACCD-7C1C-AA28-EEAED1C3A4F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87905843-8D4B-6D16-2B75-918F3F93FA31}"/>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E67DAB3F-3E28-B570-23BF-F4D2556094B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F74ECD5-328E-E969-217B-091A4CAE5E9C}"/>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85</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1</cp:revision>
  <dcterms:created xsi:type="dcterms:W3CDTF">2022-07-04T13:32:28Z</dcterms:created>
  <dcterms:modified xsi:type="dcterms:W3CDTF">2023-03-08T22:59:58Z</dcterms:modified>
</cp:coreProperties>
</file>